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26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0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8160C1-136C-48EB-B1AB-336306DCC0D5}" type="datetimeFigureOut">
              <a:rPr lang="zh-CN" altLang="en-US" smtClean="0"/>
              <a:t>2025/9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8755E4-032F-4584-B445-C8BAB2C524D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923128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05937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8690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7920560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6337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4387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695707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5018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8963807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D5C783B-3E1C-5E3F-118B-95133BBA7B54}"/>
              </a:ext>
            </a:extLst>
          </p:cNvPr>
          <p:cNvSpPr txBox="1">
            <a:spLocks/>
          </p:cNvSpPr>
          <p:nvPr/>
        </p:nvSpPr>
        <p:spPr bwMode="gray">
          <a:xfrm>
            <a:off x="1877172" y="2027787"/>
            <a:ext cx="9451228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Montserrat ExtraBold" panose="00000900000000000000" pitchFamily="2" charset="0"/>
                <a:ea typeface="+mj-ea"/>
                <a:cs typeface="+mj-cs"/>
                <a:sym typeface="Futur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1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j-cs"/>
                <a:sym typeface="Futura"/>
              </a:rPr>
              <a:t>{quote}</a:t>
            </a:r>
          </a:p>
        </p:txBody>
      </p:sp>
      <p:sp>
        <p:nvSpPr>
          <p:cNvPr id="3" name="Textplatzhalter 4">
            <a:extLst>
              <a:ext uri="{FF2B5EF4-FFF2-40B4-BE49-F238E27FC236}">
                <a16:creationId xmlns:a16="http://schemas.microsoft.com/office/drawing/2014/main" id="{5F057188-9E2B-D36F-9923-C511EA00C681}"/>
              </a:ext>
            </a:extLst>
          </p:cNvPr>
          <p:cNvSpPr txBox="1">
            <a:spLocks/>
          </p:cNvSpPr>
          <p:nvPr/>
        </p:nvSpPr>
        <p:spPr bwMode="gray">
          <a:xfrm>
            <a:off x="1877172" y="4224599"/>
            <a:ext cx="6211888" cy="5327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195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2313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quote_descriptio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}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</a:b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quote_description_summary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}</a:t>
            </a:r>
          </a:p>
        </p:txBody>
      </p:sp>
      <p:grpSp>
        <p:nvGrpSpPr>
          <p:cNvPr id="4" name="Gruppieren 12">
            <a:extLst>
              <a:ext uri="{FF2B5EF4-FFF2-40B4-BE49-F238E27FC236}">
                <a16:creationId xmlns:a16="http://schemas.microsoft.com/office/drawing/2014/main" id="{8F13A2E4-355D-B627-BA82-0462A070660E}"/>
              </a:ext>
            </a:extLst>
          </p:cNvPr>
          <p:cNvGrpSpPr>
            <a:grpSpLocks/>
          </p:cNvGrpSpPr>
          <p:nvPr/>
        </p:nvGrpSpPr>
        <p:grpSpPr>
          <a:xfrm>
            <a:off x="864870" y="1780647"/>
            <a:ext cx="704340" cy="704340"/>
            <a:chOff x="2387600" y="1866900"/>
            <a:chExt cx="704340" cy="704340"/>
          </a:xfrm>
        </p:grpSpPr>
        <p:sp>
          <p:nvSpPr>
            <p:cNvPr id="6" name="Ellipse 8">
              <a:extLst>
                <a:ext uri="{FF2B5EF4-FFF2-40B4-BE49-F238E27FC236}">
                  <a16:creationId xmlns:a16="http://schemas.microsoft.com/office/drawing/2014/main" id="{583FEE3E-4745-0ECA-9CD4-3B75D126B84C}"/>
                </a:ext>
              </a:extLst>
            </p:cNvPr>
            <p:cNvSpPr>
              <a:spLocks/>
            </p:cNvSpPr>
            <p:nvPr/>
          </p:nvSpPr>
          <p:spPr>
            <a:xfrm>
              <a:off x="2387600" y="1866900"/>
              <a:ext cx="704340" cy="70434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7" name="Textfeld 11">
              <a:extLst>
                <a:ext uri="{FF2B5EF4-FFF2-40B4-BE49-F238E27FC236}">
                  <a16:creationId xmlns:a16="http://schemas.microsoft.com/office/drawing/2014/main" id="{4A33029A-A3DE-E4CC-A18F-5C9835BACF8C}"/>
                </a:ext>
              </a:extLst>
            </p:cNvPr>
            <p:cNvSpPr txBox="1">
              <a:spLocks/>
            </p:cNvSpPr>
            <p:nvPr/>
          </p:nvSpPr>
          <p:spPr>
            <a:xfrm>
              <a:off x="2571242" y="2086517"/>
              <a:ext cx="337058" cy="265108"/>
            </a:xfrm>
            <a:custGeom>
              <a:avLst/>
              <a:gdLst/>
              <a:ahLst/>
              <a:cxnLst/>
              <a:rect l="l" t="t" r="r" b="b"/>
              <a:pathLst>
                <a:path w="212113" h="166837">
                  <a:moveTo>
                    <a:pt x="197021" y="0"/>
                  </a:moveTo>
                  <a:lnTo>
                    <a:pt x="212113" y="31831"/>
                  </a:lnTo>
                  <a:cubicBezTo>
                    <a:pt x="196746" y="36953"/>
                    <a:pt x="185724" y="44088"/>
                    <a:pt x="179047" y="53234"/>
                  </a:cubicBezTo>
                  <a:cubicBezTo>
                    <a:pt x="172370" y="62381"/>
                    <a:pt x="168849" y="74546"/>
                    <a:pt x="168483" y="89730"/>
                  </a:cubicBezTo>
                  <a:lnTo>
                    <a:pt x="205802" y="89730"/>
                  </a:lnTo>
                  <a:lnTo>
                    <a:pt x="205802" y="166837"/>
                  </a:lnTo>
                  <a:lnTo>
                    <a:pt x="128695" y="166837"/>
                  </a:lnTo>
                  <a:lnTo>
                    <a:pt x="128695" y="111682"/>
                  </a:lnTo>
                  <a:cubicBezTo>
                    <a:pt x="128695" y="89181"/>
                    <a:pt x="130661" y="71528"/>
                    <a:pt x="134594" y="58722"/>
                  </a:cubicBezTo>
                  <a:cubicBezTo>
                    <a:pt x="138527" y="45917"/>
                    <a:pt x="145845" y="34392"/>
                    <a:pt x="156546" y="24148"/>
                  </a:cubicBezTo>
                  <a:cubicBezTo>
                    <a:pt x="167248" y="13903"/>
                    <a:pt x="180740" y="5854"/>
                    <a:pt x="197021" y="0"/>
                  </a:cubicBezTo>
                  <a:close/>
                  <a:moveTo>
                    <a:pt x="68326" y="0"/>
                  </a:moveTo>
                  <a:lnTo>
                    <a:pt x="83418" y="31831"/>
                  </a:lnTo>
                  <a:cubicBezTo>
                    <a:pt x="68052" y="36953"/>
                    <a:pt x="57030" y="44088"/>
                    <a:pt x="50353" y="53234"/>
                  </a:cubicBezTo>
                  <a:cubicBezTo>
                    <a:pt x="43676" y="62381"/>
                    <a:pt x="40154" y="74546"/>
                    <a:pt x="39788" y="89730"/>
                  </a:cubicBezTo>
                  <a:lnTo>
                    <a:pt x="77107" y="89730"/>
                  </a:lnTo>
                  <a:lnTo>
                    <a:pt x="77107" y="166837"/>
                  </a:lnTo>
                  <a:lnTo>
                    <a:pt x="0" y="166837"/>
                  </a:lnTo>
                  <a:lnTo>
                    <a:pt x="0" y="111682"/>
                  </a:lnTo>
                  <a:cubicBezTo>
                    <a:pt x="0" y="89364"/>
                    <a:pt x="1967" y="71756"/>
                    <a:pt x="5900" y="58860"/>
                  </a:cubicBezTo>
                  <a:cubicBezTo>
                    <a:pt x="9833" y="45963"/>
                    <a:pt x="17105" y="34392"/>
                    <a:pt x="27715" y="24148"/>
                  </a:cubicBezTo>
                  <a:cubicBezTo>
                    <a:pt x="38325" y="13903"/>
                    <a:pt x="51862" y="5854"/>
                    <a:pt x="6832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635B4FF-F84E-CD0F-959E-4207B1AC275E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263440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quotes, quotation, quotations</a:t>
            </a:r>
          </a:p>
        </p:txBody>
      </p:sp>
    </p:spTree>
    <p:extLst>
      <p:ext uri="{BB962C8B-B14F-4D97-AF65-F5344CB8AC3E}">
        <p14:creationId xmlns:p14="http://schemas.microsoft.com/office/powerpoint/2010/main" val="30952278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6</Words>
  <Application>Microsoft Office PowerPoint</Application>
  <PresentationFormat>宽屏</PresentationFormat>
  <Paragraphs>4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8T07:26:54Z</dcterms:created>
  <dcterms:modified xsi:type="dcterms:W3CDTF">2025-09-08T07:27:50Z</dcterms:modified>
</cp:coreProperties>
</file>